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4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7" d="100"/>
          <a:sy n="97" d="100"/>
        </p:scale>
        <p:origin x="1398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8328B3EC-6DFA-4D20-A425-C2B53CAC1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8328B3EC-6DFA-4D20-A425-C2B53CAC113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91A46D-B544-4718-AC2A-0EAE1D8593BF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1F24CF88-8B8B-4929-96C1-70F7F63D69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3280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D2E22575-17A0-435D-8450-1A794E99B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D2E22575-17A0-435D-8450-1A794E99B2D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4B3083-2A70-43FC-B016-FCB35C0422A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816816-1C87-449F-85DE-A249328ACF0C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BFE32EA9-7FC1-4641-BBAD-A43B0995A960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8F28ED1B-61FB-4281-8C1B-00322D7F8B0E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F9CEA414-74D1-42FF-BD2F-5B3B697AC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BA15C04-B258-4364-8D65-80C0F0C15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8480650-F7D0-4627-B973-D8B8EA0CBA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2EEC66F6-BF49-4E4B-8C3C-532D144DFF7D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2F6D2158-DF9A-414F-BD51-FA2A868D5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2F6D2158-DF9A-414F-BD51-FA2A868D51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3137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kt 84" hidden="1">
            <a:extLst>
              <a:ext uri="{FF2B5EF4-FFF2-40B4-BE49-F238E27FC236}">
                <a16:creationId xmlns:a16="http://schemas.microsoft.com/office/drawing/2014/main" id="{59032CAB-C573-4E32-8928-97CC4EE55A0E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170" name="Objekt 84" hidden="1">
                        <a:extLst>
                          <a:ext uri="{FF2B5EF4-FFF2-40B4-BE49-F238E27FC236}">
                            <a16:creationId xmlns:a16="http://schemas.microsoft.com/office/drawing/2014/main" id="{59032CAB-C573-4E32-8928-97CC4EE55A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Titelplatzhalter 1">
            <a:extLst>
              <a:ext uri="{FF2B5EF4-FFF2-40B4-BE49-F238E27FC236}">
                <a16:creationId xmlns:a16="http://schemas.microsoft.com/office/drawing/2014/main" id="{60F8BB63-A1F6-4F8A-825A-64746DC428B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7172" name="Textplatzhalter 2">
            <a:extLst>
              <a:ext uri="{FF2B5EF4-FFF2-40B4-BE49-F238E27FC236}">
                <a16:creationId xmlns:a16="http://schemas.microsoft.com/office/drawing/2014/main" id="{2F2148B9-6219-423B-B9B1-328EB5C7ECD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FD80627C-0082-49A7-A790-B419CC1FEC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48B6B3CF-E431-463A-8577-C0696DD94F1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9A2BF32-F70A-44E3-B222-B104DBA253B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175" name="Group 7">
            <a:extLst>
              <a:ext uri="{FF2B5EF4-FFF2-40B4-BE49-F238E27FC236}">
                <a16:creationId xmlns:a16="http://schemas.microsoft.com/office/drawing/2014/main" id="{9559AD99-62AC-4B91-93F5-BB9CD67C6DE0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177" name="Freeform 8">
              <a:extLst>
                <a:ext uri="{FF2B5EF4-FFF2-40B4-BE49-F238E27FC236}">
                  <a16:creationId xmlns:a16="http://schemas.microsoft.com/office/drawing/2014/main" id="{E786354E-381B-495F-954E-4675FE796B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8" name="Freeform 9">
              <a:extLst>
                <a:ext uri="{FF2B5EF4-FFF2-40B4-BE49-F238E27FC236}">
                  <a16:creationId xmlns:a16="http://schemas.microsoft.com/office/drawing/2014/main" id="{940005A3-6CF2-4C22-9FFC-0288601B19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9" name="Freeform 10">
              <a:extLst>
                <a:ext uri="{FF2B5EF4-FFF2-40B4-BE49-F238E27FC236}">
                  <a16:creationId xmlns:a16="http://schemas.microsoft.com/office/drawing/2014/main" id="{375A982B-3E17-4266-9968-11F56593F4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1458E4E-E98A-4197-A364-956901B588F1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1529EB8-C5A6-4782-86C0-F2E7E52100A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6671049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105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888361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Réutilisation de l'eau de la laveuse de bouteilles comme </a:t>
                      </a:r>
                      <a:r>
                        <a:rPr lang="en-US" sz="1200" dirty="0" err="1"/>
                        <a:t>eau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d'entretien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200" dirty="0" err="1">
                          <a:sym typeface="Wingdings" panose="05000000000000000000" pitchFamily="2" charset="2"/>
                        </a:rPr>
                        <a:t>jusqu’à</a:t>
                      </a:r>
                      <a:r>
                        <a:rPr lang="en-US" sz="1200" dirty="0">
                          <a:sym typeface="Wingdings" panose="05000000000000000000" pitchFamily="2" charset="2"/>
                        </a:rPr>
                        <a:t> 50% </a:t>
                      </a: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Récupération de l'eau qui sort de la laveuse dans un réservoir dédié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fr-FR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fr-FR" sz="1200" dirty="0"/>
                    </a:p>
                    <a:p>
                      <a:pPr marL="162278" marR="0" lvl="1" indent="-16227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ct val="100000"/>
                        <a:buFont typeface="Wingdings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fr-FR" altLang="de-DE" sz="1400" kern="1200" noProof="1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'objectif est de vous donner la possibilité de réutiliser l'eau utilisée pour rincer les bouteilles au lieu de la jeter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'eau récupérée peut être utilisée comme eau d'entretien (lavage de machines, par exemple) ou recyclée dans des installations à charbon actif. Elle ne peut être réutilisée comme eau de traitement, car l'eau récupérée contient des traces d'acide péracétique (APA).</a:t>
                      </a: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316788" cy="789944"/>
          </a:xfrm>
        </p:spPr>
        <p:txBody>
          <a:bodyPr/>
          <a:lstStyle/>
          <a:p>
            <a:r>
              <a:rPr lang="fr-FR" sz="2750" dirty="0"/>
              <a:t>Réduction des gaspillages d'eau de traitement en réutilisant l'effluent de la laveuse de bouteil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988" y="141512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Système de récupération d'eau de rinçage</a:t>
            </a:r>
            <a:endParaRPr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>
                <a:solidFill>
                  <a:srgbClr val="000000"/>
                </a:solidFill>
              </a:rPr>
              <a:t>Valeur : optimisation des </a:t>
            </a:r>
            <a:r>
              <a:rPr dirty="0" err="1">
                <a:solidFill>
                  <a:srgbClr val="000000"/>
                </a:solidFill>
              </a:rPr>
              <a:t>coûts</a:t>
            </a:r>
            <a:r>
              <a:rPr lang="fr-FR" dirty="0">
                <a:solidFill>
                  <a:srgbClr val="000000"/>
                </a:solidFill>
              </a:rPr>
              <a:t>, Développement durable</a:t>
            </a:r>
          </a:p>
          <a:p>
            <a:r>
              <a:rPr dirty="0">
                <a:solidFill>
                  <a:srgbClr val="000000"/>
                </a:solidFill>
              </a:rPr>
              <a:t>Équipements : remplisseuses aseptiques (FMa)</a:t>
            </a:r>
          </a:p>
          <a:p>
            <a:r>
              <a:rPr dirty="0">
                <a:solidFill>
                  <a:srgbClr val="000000"/>
                </a:solidFill>
              </a:rPr>
              <a:t>Code catalogue : SP008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27" y="4149080"/>
            <a:ext cx="3600000" cy="125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384199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1</TotalTime>
  <Words>119</Words>
  <Application>Microsoft Office PowerPoint</Application>
  <PresentationFormat>Affichage à l'écra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NewSidel_Template_4x3_with add layouts</vt:lpstr>
      <vt:lpstr>think-cell Folie</vt:lpstr>
      <vt:lpstr>Réduction des gaspillages d'eau de traitement en réutilisant l'effluent de la laveuse de bouteille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duction des gaspillages d'eau de traitement en réutilisant l'effluent de la laveuse de bouteilles</dc:title>
  <dc:creator>Gouriou, Lydie</dc:creator>
  <cp:lastModifiedBy>Sorega, Dan</cp:lastModifiedBy>
  <cp:revision>3</cp:revision>
  <dcterms:created xsi:type="dcterms:W3CDTF">2014-07-17T09:58:30Z</dcterms:created>
  <dcterms:modified xsi:type="dcterms:W3CDTF">2019-11-07T14:1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1-07T13:29:05.516173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